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7" r:id="rId1"/>
  </p:sldMasterIdLst>
  <p:notesMasterIdLst>
    <p:notesMasterId r:id="rId14"/>
  </p:notesMasterIdLst>
  <p:handoutMasterIdLst>
    <p:handoutMasterId r:id="rId15"/>
  </p:handoutMasterIdLst>
  <p:sldIdLst>
    <p:sldId id="359" r:id="rId2"/>
    <p:sldId id="970" r:id="rId3"/>
    <p:sldId id="971" r:id="rId4"/>
    <p:sldId id="972" r:id="rId5"/>
    <p:sldId id="974" r:id="rId6"/>
    <p:sldId id="973" r:id="rId7"/>
    <p:sldId id="976" r:id="rId8"/>
    <p:sldId id="977" r:id="rId9"/>
    <p:sldId id="978" r:id="rId10"/>
    <p:sldId id="979" r:id="rId11"/>
    <p:sldId id="975" r:id="rId12"/>
    <p:sldId id="980" r:id="rId13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B787"/>
    <a:srgbClr val="00A9CE"/>
    <a:srgbClr val="FFFFFF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7" autoAdjust="0"/>
    <p:restoredTop sz="83001" autoAdjust="0"/>
  </p:normalViewPr>
  <p:slideViewPr>
    <p:cSldViewPr snapToGrid="0">
      <p:cViewPr varScale="1">
        <p:scale>
          <a:sx n="104" d="100"/>
          <a:sy n="104" d="100"/>
        </p:scale>
        <p:origin x="308" y="68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2680"/>
    </p:cViewPr>
  </p:sorterViewPr>
  <p:notesViewPr>
    <p:cSldViewPr snapToGrid="0" showGuides="1">
      <p:cViewPr varScale="1">
        <p:scale>
          <a:sx n="80" d="100"/>
          <a:sy n="80" d="100"/>
        </p:scale>
        <p:origin x="2428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dirty="0"/>
              <a:t>and make sure your Nodejs files (Step 7) are located in this folder when you execute them</a:t>
            </a:r>
            <a:endParaRPr lang="en-DE" sz="900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727822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99608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85616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8544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087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8914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278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06149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656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279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102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25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093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597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23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800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solidity.readthedocs.io/en/v0.5.13/installing-solidity.html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nodejs.org/en/download/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ufflesuite.com/docs/ganache/quickstar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github.com/trufflesuite/ganache-cli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trufflesuite/truffle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dirty="0"/>
              <a:t>Ethereum Tutorial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AEB6A82E-81CF-41DE-90A9-FD8D6AB363A4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D2FAF-FD6F-48A6-A3AB-80A51359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er of Ether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E0BB00-0B73-4240-9247-7C379FEF19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117600"/>
            <a:ext cx="4711400" cy="4106333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HDWalletProvider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require</a:t>
            </a:r>
            <a:r>
              <a:rPr lang="de-DE" dirty="0">
                <a:latin typeface="Corbel Light" panose="020B0303020204020204" pitchFamily="34" charset="0"/>
              </a:rPr>
              <a:t>("@</a:t>
            </a:r>
            <a:r>
              <a:rPr lang="de-DE" dirty="0" err="1">
                <a:latin typeface="Corbel Light" panose="020B0303020204020204" pitchFamily="34" charset="0"/>
              </a:rPr>
              <a:t>truffle</a:t>
            </a:r>
            <a:r>
              <a:rPr lang="de-DE" dirty="0">
                <a:latin typeface="Corbel Light" panose="020B0303020204020204" pitchFamily="34" charset="0"/>
              </a:rPr>
              <a:t>/</a:t>
            </a:r>
            <a:r>
              <a:rPr lang="de-DE" dirty="0" err="1">
                <a:latin typeface="Corbel Light" panose="020B0303020204020204" pitchFamily="34" charset="0"/>
              </a:rPr>
              <a:t>hdwallet</a:t>
            </a:r>
            <a:r>
              <a:rPr lang="de-DE" dirty="0">
                <a:latin typeface="Corbel Light" panose="020B0303020204020204" pitchFamily="34" charset="0"/>
              </a:rPr>
              <a:t>-provider")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load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ingle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private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key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as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tring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provider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new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HDWalletProvider</a:t>
            </a:r>
            <a:r>
              <a:rPr lang="de-DE" dirty="0">
                <a:latin typeface="Corbel Light" panose="020B0303020204020204" pitchFamily="34" charset="0"/>
              </a:rPr>
              <a:t>("</a:t>
            </a:r>
            <a:r>
              <a:rPr lang="de-DE" dirty="0" err="1">
                <a:latin typeface="Corbel Light" panose="020B0303020204020204" pitchFamily="34" charset="0"/>
              </a:rPr>
              <a:t>hop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cabin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bon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sunse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thriv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eigh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tray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rubbe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earth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resembl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survey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nasty</a:t>
            </a:r>
            <a:r>
              <a:rPr lang="de-DE" dirty="0">
                <a:latin typeface="Corbel Light" panose="020B0303020204020204" pitchFamily="34" charset="0"/>
              </a:rPr>
              <a:t>", "http://localhost:8545"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provider.addresses</a:t>
            </a:r>
            <a:r>
              <a:rPr lang="de-DE" dirty="0">
                <a:latin typeface="Corbel Light" panose="020B0303020204020204" pitchFamily="34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do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omething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Web3 = </a:t>
            </a:r>
            <a:r>
              <a:rPr lang="de-DE" dirty="0" err="1">
                <a:latin typeface="Corbel Light" panose="020B0303020204020204" pitchFamily="34" charset="0"/>
              </a:rPr>
              <a:t>require</a:t>
            </a:r>
            <a:r>
              <a:rPr lang="de-DE" dirty="0">
                <a:latin typeface="Corbel Light" panose="020B0303020204020204" pitchFamily="34" charset="0"/>
              </a:rPr>
              <a:t>('web3‘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web3 = </a:t>
            </a:r>
            <a:r>
              <a:rPr lang="de-DE" dirty="0" err="1">
                <a:latin typeface="Corbel Light" panose="020B0303020204020204" pitchFamily="34" charset="0"/>
              </a:rPr>
              <a:t>new</a:t>
            </a:r>
            <a:r>
              <a:rPr lang="de-DE" dirty="0">
                <a:latin typeface="Corbel Light" panose="020B0303020204020204" pitchFamily="34" charset="0"/>
              </a:rPr>
              <a:t> Web3(</a:t>
            </a:r>
            <a:r>
              <a:rPr lang="de-DE" dirty="0" err="1">
                <a:latin typeface="Corbel Light" panose="020B0303020204020204" pitchFamily="34" charset="0"/>
              </a:rPr>
              <a:t>provider</a:t>
            </a:r>
            <a:r>
              <a:rPr lang="de-DE" dirty="0">
                <a:latin typeface="Corbel Light" panose="020B0303020204020204" pitchFamily="34" charset="0"/>
              </a:rPr>
              <a:t>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lockNumber(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r =&gt; console.log("Block </a:t>
            </a:r>
            <a:r>
              <a:rPr lang="de-DE" dirty="0" err="1">
                <a:latin typeface="Corbel Light" panose="020B0303020204020204" pitchFamily="34" charset="0"/>
              </a:rPr>
              <a:t>Number</a:t>
            </a:r>
            <a:r>
              <a:rPr lang="de-DE" dirty="0">
                <a:latin typeface="Corbel Light" panose="020B0303020204020204" pitchFamily="34" charset="0"/>
              </a:rPr>
              <a:t>: ", r))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 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intAccountBalance</a:t>
            </a:r>
            <a:r>
              <a:rPr lang="de-DE" dirty="0">
                <a:latin typeface="Corbel Light" panose="020B0303020204020204" pitchFamily="34" charset="0"/>
              </a:rPr>
              <a:t>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0]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intAccountBalance</a:t>
            </a:r>
            <a:r>
              <a:rPr lang="de-DE" dirty="0">
                <a:latin typeface="Corbel Light" panose="020B0303020204020204" pitchFamily="34" charset="0"/>
              </a:rPr>
              <a:t>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1]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intAccountBalance</a:t>
            </a:r>
            <a:r>
              <a:rPr lang="de-DE" dirty="0">
                <a:latin typeface="Corbel Light" panose="020B0303020204020204" pitchFamily="34" charset="0"/>
              </a:rPr>
              <a:t>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2]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cons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weiValue</a:t>
            </a:r>
            <a:r>
              <a:rPr lang="de-DE" dirty="0">
                <a:latin typeface="Corbel Light" panose="020B0303020204020204" pitchFamily="34" charset="0"/>
              </a:rPr>
              <a:t> = Web3.utils.toWei('99', '</a:t>
            </a:r>
            <a:r>
              <a:rPr lang="de-DE" dirty="0" err="1">
                <a:latin typeface="Corbel Light" panose="020B0303020204020204" pitchFamily="34" charset="0"/>
              </a:rPr>
              <a:t>ether</a:t>
            </a:r>
            <a:r>
              <a:rPr lang="de-DE" dirty="0">
                <a:latin typeface="Corbel Light" panose="020B0303020204020204" pitchFamily="34" charset="0"/>
              </a:rPr>
              <a:t>‘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sendTx</a:t>
            </a:r>
            <a:r>
              <a:rPr lang="de-DE" dirty="0">
                <a:latin typeface="Corbel Light" panose="020B0303020204020204" pitchFamily="34" charset="0"/>
              </a:rPr>
              <a:t>()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top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HDWallet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provider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ovider.engine.stop</a:t>
            </a:r>
            <a:r>
              <a:rPr lang="de-DE" dirty="0">
                <a:latin typeface="Corbel Light" panose="020B0303020204020204" pitchFamily="34" charset="0"/>
              </a:rPr>
              <a:t>()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6E006-E9CC-4DCA-8BA0-5A6E21C41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07B9A9-436B-4E8D-91D4-0B5D279EF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BE4160-388F-4C1C-87E3-060F55FFEB7F}"/>
              </a:ext>
            </a:extLst>
          </p:cNvPr>
          <p:cNvSpPr/>
          <p:nvPr/>
        </p:nvSpPr>
        <p:spPr>
          <a:xfrm>
            <a:off x="5477933" y="1117600"/>
            <a:ext cx="3556000" cy="4001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sz="1200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functions</a:t>
            </a:r>
            <a:endParaRPr lang="de-DE" sz="1200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r>
              <a:rPr lang="de-DE" sz="1200" dirty="0" err="1">
                <a:latin typeface="Corbel Light" panose="020B0303020204020204" pitchFamily="34" charset="0"/>
              </a:rPr>
              <a:t>async</a:t>
            </a:r>
            <a:r>
              <a:rPr lang="de-DE" sz="1200" dirty="0">
                <a:latin typeface="Corbel Light" panose="020B0303020204020204" pitchFamily="34" charset="0"/>
              </a:rPr>
              <a:t> </a:t>
            </a:r>
            <a:r>
              <a:rPr lang="de-DE" sz="1200" dirty="0" err="1">
                <a:latin typeface="Corbel Light" panose="020B0303020204020204" pitchFamily="34" charset="0"/>
              </a:rPr>
              <a:t>function</a:t>
            </a:r>
            <a:r>
              <a:rPr lang="de-DE" sz="1200" dirty="0">
                <a:latin typeface="Corbel Light" panose="020B0303020204020204" pitchFamily="34" charset="0"/>
              </a:rPr>
              <a:t> </a:t>
            </a:r>
            <a:r>
              <a:rPr lang="de-DE" sz="1200" dirty="0" err="1">
                <a:latin typeface="Corbel Light" panose="020B0303020204020204" pitchFamily="34" charset="0"/>
              </a:rPr>
              <a:t>sendTx</a:t>
            </a:r>
            <a:r>
              <a:rPr lang="de-DE" sz="1200" dirty="0">
                <a:latin typeface="Corbel Light" panose="020B0303020204020204" pitchFamily="34" charset="0"/>
              </a:rPr>
              <a:t>(){  </a:t>
            </a:r>
          </a:p>
          <a:p>
            <a:r>
              <a:rPr lang="de-DE" sz="1200" dirty="0" err="1">
                <a:latin typeface="Corbel Light" panose="020B0303020204020204" pitchFamily="34" charset="0"/>
              </a:rPr>
              <a:t>const</a:t>
            </a:r>
            <a:r>
              <a:rPr lang="de-DE" sz="1200" dirty="0">
                <a:latin typeface="Corbel Light" panose="020B0303020204020204" pitchFamily="34" charset="0"/>
              </a:rPr>
              <a:t> </a:t>
            </a:r>
            <a:r>
              <a:rPr lang="de-DE" sz="1200" dirty="0" err="1">
                <a:latin typeface="Corbel Light" panose="020B0303020204020204" pitchFamily="34" charset="0"/>
              </a:rPr>
              <a:t>promise</a:t>
            </a:r>
            <a:r>
              <a:rPr lang="de-DE" sz="1200" dirty="0">
                <a:latin typeface="Corbel Light" panose="020B0303020204020204" pitchFamily="34" charset="0"/>
              </a:rPr>
              <a:t> = </a:t>
            </a:r>
            <a:r>
              <a:rPr lang="de-DE" sz="1200" dirty="0" err="1">
                <a:latin typeface="Corbel Light" panose="020B0303020204020204" pitchFamily="34" charset="0"/>
              </a:rPr>
              <a:t>await</a:t>
            </a:r>
            <a:r>
              <a:rPr lang="de-DE" sz="1200" dirty="0">
                <a:latin typeface="Corbel Light" panose="020B0303020204020204" pitchFamily="34" charset="0"/>
              </a:rPr>
              <a:t> web3.eth.sendTransaction({      </a:t>
            </a:r>
            <a:r>
              <a:rPr lang="de-DE" sz="1200" dirty="0" err="1">
                <a:latin typeface="Corbel Light" panose="020B0303020204020204" pitchFamily="34" charset="0"/>
              </a:rPr>
              <a:t>from</a:t>
            </a:r>
            <a:r>
              <a:rPr lang="de-DE" sz="1200" dirty="0">
                <a:latin typeface="Corbel Light" panose="020B0303020204020204" pitchFamily="34" charset="0"/>
              </a:rPr>
              <a:t>: </a:t>
            </a:r>
            <a:r>
              <a:rPr lang="de-DE" sz="1200" dirty="0" err="1">
                <a:latin typeface="Corbel Light" panose="020B0303020204020204" pitchFamily="34" charset="0"/>
              </a:rPr>
              <a:t>addresses</a:t>
            </a:r>
            <a:r>
              <a:rPr lang="de-DE" sz="1200" dirty="0">
                <a:latin typeface="Corbel Light" panose="020B0303020204020204" pitchFamily="34" charset="0"/>
              </a:rPr>
              <a:t>[0],      </a:t>
            </a:r>
            <a:r>
              <a:rPr lang="de-DE" sz="1200" dirty="0" err="1">
                <a:latin typeface="Corbel Light" panose="020B0303020204020204" pitchFamily="34" charset="0"/>
              </a:rPr>
              <a:t>to</a:t>
            </a:r>
            <a:r>
              <a:rPr lang="de-DE" sz="1200" dirty="0">
                <a:latin typeface="Corbel Light" panose="020B0303020204020204" pitchFamily="34" charset="0"/>
              </a:rPr>
              <a:t>: </a:t>
            </a:r>
            <a:r>
              <a:rPr lang="de-DE" sz="1200" dirty="0" err="1">
                <a:latin typeface="Corbel Light" panose="020B0303020204020204" pitchFamily="34" charset="0"/>
              </a:rPr>
              <a:t>addresses</a:t>
            </a:r>
            <a:r>
              <a:rPr lang="de-DE" sz="1200" dirty="0">
                <a:latin typeface="Corbel Light" panose="020B0303020204020204" pitchFamily="34" charset="0"/>
              </a:rPr>
              <a:t>[1],      </a:t>
            </a:r>
            <a:r>
              <a:rPr lang="de-DE" sz="1200" dirty="0" err="1">
                <a:latin typeface="Corbel Light" panose="020B0303020204020204" pitchFamily="34" charset="0"/>
              </a:rPr>
              <a:t>value</a:t>
            </a:r>
            <a:r>
              <a:rPr lang="de-DE" sz="1200" dirty="0">
                <a:latin typeface="Corbel Light" panose="020B0303020204020204" pitchFamily="34" charset="0"/>
              </a:rPr>
              <a:t>: </a:t>
            </a:r>
            <a:r>
              <a:rPr lang="de-DE" sz="1200" dirty="0" err="1">
                <a:latin typeface="Corbel Light" panose="020B0303020204020204" pitchFamily="34" charset="0"/>
              </a:rPr>
              <a:t>weiValue</a:t>
            </a:r>
            <a:r>
              <a:rPr lang="de-DE" sz="1200" dirty="0">
                <a:latin typeface="Corbel Light" panose="020B0303020204020204" pitchFamily="34" charset="0"/>
              </a:rPr>
              <a:t>  });  </a:t>
            </a:r>
          </a:p>
          <a:p>
            <a:r>
              <a:rPr lang="de-DE" sz="1200" dirty="0">
                <a:latin typeface="Corbel Light" panose="020B0303020204020204" pitchFamily="34" charset="0"/>
              </a:rPr>
              <a:t>console.log("Transaction </a:t>
            </a:r>
            <a:r>
              <a:rPr lang="de-DE" sz="1200" dirty="0" err="1">
                <a:latin typeface="Corbel Light" panose="020B0303020204020204" pitchFamily="34" charset="0"/>
              </a:rPr>
              <a:t>sent</a:t>
            </a:r>
            <a:r>
              <a:rPr lang="de-DE" sz="1200" dirty="0">
                <a:latin typeface="Corbel Light" panose="020B0303020204020204" pitchFamily="34" charset="0"/>
              </a:rPr>
              <a:t>", </a:t>
            </a:r>
            <a:r>
              <a:rPr lang="de-DE" sz="1200" dirty="0" err="1">
                <a:latin typeface="Corbel Light" panose="020B0303020204020204" pitchFamily="34" charset="0"/>
              </a:rPr>
              <a:t>promise.r</a:t>
            </a:r>
            <a:r>
              <a:rPr lang="de-DE" sz="1200" dirty="0">
                <a:latin typeface="Corbel Light" panose="020B0303020204020204" pitchFamily="34" charset="0"/>
              </a:rPr>
              <a:t>)  </a:t>
            </a:r>
            <a:r>
              <a:rPr lang="de-DE" sz="1200" dirty="0" err="1">
                <a:latin typeface="Corbel Light" panose="020B0303020204020204" pitchFamily="34" charset="0"/>
              </a:rPr>
              <a:t>printAccountBalance</a:t>
            </a:r>
            <a:r>
              <a:rPr lang="de-DE" sz="1200" dirty="0">
                <a:latin typeface="Corbel Light" panose="020B0303020204020204" pitchFamily="34" charset="0"/>
              </a:rPr>
              <a:t>(</a:t>
            </a:r>
            <a:r>
              <a:rPr lang="de-DE" sz="1200" dirty="0" err="1">
                <a:latin typeface="Corbel Light" panose="020B0303020204020204" pitchFamily="34" charset="0"/>
              </a:rPr>
              <a:t>addresses</a:t>
            </a:r>
            <a:r>
              <a:rPr lang="de-DE" sz="1200" dirty="0">
                <a:latin typeface="Corbel Light" panose="020B0303020204020204" pitchFamily="34" charset="0"/>
              </a:rPr>
              <a:t>[0]);  </a:t>
            </a:r>
            <a:r>
              <a:rPr lang="de-DE" sz="1200" dirty="0" err="1">
                <a:latin typeface="Corbel Light" panose="020B0303020204020204" pitchFamily="34" charset="0"/>
              </a:rPr>
              <a:t>printAccountBalance</a:t>
            </a:r>
            <a:r>
              <a:rPr lang="de-DE" sz="1200" dirty="0">
                <a:latin typeface="Corbel Light" panose="020B0303020204020204" pitchFamily="34" charset="0"/>
              </a:rPr>
              <a:t>(</a:t>
            </a:r>
            <a:r>
              <a:rPr lang="de-DE" sz="1200" dirty="0" err="1">
                <a:latin typeface="Corbel Light" panose="020B0303020204020204" pitchFamily="34" charset="0"/>
              </a:rPr>
              <a:t>addresses</a:t>
            </a:r>
            <a:r>
              <a:rPr lang="de-DE" sz="1200" dirty="0">
                <a:latin typeface="Corbel Light" panose="020B0303020204020204" pitchFamily="34" charset="0"/>
              </a:rPr>
              <a:t>[1]);  </a:t>
            </a:r>
            <a:r>
              <a:rPr lang="de-DE" sz="1200" dirty="0" err="1">
                <a:latin typeface="Corbel Light" panose="020B0303020204020204" pitchFamily="34" charset="0"/>
              </a:rPr>
              <a:t>printAccountBalance</a:t>
            </a:r>
            <a:r>
              <a:rPr lang="de-DE" sz="1200" dirty="0">
                <a:latin typeface="Corbel Light" panose="020B0303020204020204" pitchFamily="34" charset="0"/>
              </a:rPr>
              <a:t>(</a:t>
            </a:r>
            <a:r>
              <a:rPr lang="de-DE" sz="1200" dirty="0" err="1">
                <a:latin typeface="Corbel Light" panose="020B0303020204020204" pitchFamily="34" charset="0"/>
              </a:rPr>
              <a:t>addresses</a:t>
            </a:r>
            <a:r>
              <a:rPr lang="de-DE" sz="1200" dirty="0">
                <a:latin typeface="Corbel Light" panose="020B0303020204020204" pitchFamily="34" charset="0"/>
              </a:rPr>
              <a:t>[2]);</a:t>
            </a:r>
          </a:p>
          <a:p>
            <a:r>
              <a:rPr lang="de-DE" sz="1200" dirty="0">
                <a:latin typeface="Corbel Light" panose="020B0303020204020204" pitchFamily="34" charset="0"/>
              </a:rPr>
              <a:t>}</a:t>
            </a:r>
          </a:p>
          <a:p>
            <a:endParaRPr lang="de-DE" sz="1200" dirty="0">
              <a:latin typeface="Corbel Light" panose="020B0303020204020204" pitchFamily="34" charset="0"/>
            </a:endParaRPr>
          </a:p>
          <a:p>
            <a:r>
              <a:rPr lang="de-DE" sz="1200" dirty="0" err="1">
                <a:latin typeface="Corbel Light" panose="020B0303020204020204" pitchFamily="34" charset="0"/>
              </a:rPr>
              <a:t>function</a:t>
            </a:r>
            <a:r>
              <a:rPr lang="de-DE" sz="1200" dirty="0">
                <a:latin typeface="Corbel Light" panose="020B0303020204020204" pitchFamily="34" charset="0"/>
              </a:rPr>
              <a:t> </a:t>
            </a:r>
            <a:r>
              <a:rPr lang="de-DE" sz="1200" dirty="0" err="1">
                <a:latin typeface="Corbel Light" panose="020B0303020204020204" pitchFamily="34" charset="0"/>
              </a:rPr>
              <a:t>printAccountBalance</a:t>
            </a:r>
            <a:r>
              <a:rPr lang="de-DE" sz="1200" dirty="0">
                <a:latin typeface="Corbel Light" panose="020B0303020204020204" pitchFamily="34" charset="0"/>
              </a:rPr>
              <a:t>(</a:t>
            </a:r>
            <a:r>
              <a:rPr lang="de-DE" sz="1200" dirty="0" err="1">
                <a:latin typeface="Corbel Light" panose="020B0303020204020204" pitchFamily="34" charset="0"/>
              </a:rPr>
              <a:t>address</a:t>
            </a:r>
            <a:r>
              <a:rPr lang="de-DE" sz="1200" dirty="0">
                <a:latin typeface="Corbel Light" panose="020B0303020204020204" pitchFamily="34" charset="0"/>
              </a:rPr>
              <a:t>){  </a:t>
            </a:r>
          </a:p>
          <a:p>
            <a:r>
              <a:rPr lang="de-DE" sz="1200" dirty="0">
                <a:latin typeface="Corbel Light" panose="020B0303020204020204" pitchFamily="34" charset="0"/>
              </a:rPr>
              <a:t>web3.eth.getBalance(</a:t>
            </a:r>
            <a:r>
              <a:rPr lang="de-DE" sz="1200" dirty="0" err="1">
                <a:latin typeface="Corbel Light" panose="020B0303020204020204" pitchFamily="34" charset="0"/>
              </a:rPr>
              <a:t>address</a:t>
            </a:r>
            <a:r>
              <a:rPr lang="de-DE" sz="1200" dirty="0">
                <a:latin typeface="Corbel Light" panose="020B0303020204020204" pitchFamily="34" charset="0"/>
              </a:rPr>
              <a:t>)  .</a:t>
            </a:r>
            <a:r>
              <a:rPr lang="de-DE" sz="1200" dirty="0" err="1">
                <a:latin typeface="Corbel Light" panose="020B0303020204020204" pitchFamily="34" charset="0"/>
              </a:rPr>
              <a:t>then</a:t>
            </a:r>
            <a:r>
              <a:rPr lang="de-DE" sz="1200" dirty="0">
                <a:latin typeface="Corbel Light" panose="020B0303020204020204" pitchFamily="34" charset="0"/>
              </a:rPr>
              <a:t>(r =&gt; console.log("Balance (in Ether) of </a:t>
            </a:r>
            <a:r>
              <a:rPr lang="de-DE" sz="1200" dirty="0" err="1">
                <a:latin typeface="Corbel Light" panose="020B0303020204020204" pitchFamily="34" charset="0"/>
              </a:rPr>
              <a:t>account</a:t>
            </a:r>
            <a:r>
              <a:rPr lang="de-DE" sz="1200" dirty="0">
                <a:latin typeface="Corbel Light" panose="020B0303020204020204" pitchFamily="34" charset="0"/>
              </a:rPr>
              <a:t>", </a:t>
            </a:r>
            <a:r>
              <a:rPr lang="de-DE" sz="1200" dirty="0" err="1">
                <a:latin typeface="Corbel Light" panose="020B0303020204020204" pitchFamily="34" charset="0"/>
              </a:rPr>
              <a:t>address</a:t>
            </a:r>
            <a:r>
              <a:rPr lang="de-DE" sz="1200" dirty="0">
                <a:latin typeface="Corbel Light" panose="020B0303020204020204" pitchFamily="34" charset="0"/>
              </a:rPr>
              <a:t>, "</a:t>
            </a:r>
            <a:r>
              <a:rPr lang="de-DE" sz="1200" dirty="0" err="1">
                <a:latin typeface="Corbel Light" panose="020B0303020204020204" pitchFamily="34" charset="0"/>
              </a:rPr>
              <a:t>is</a:t>
            </a:r>
            <a:r>
              <a:rPr lang="de-DE" sz="1200" dirty="0">
                <a:latin typeface="Corbel Light" panose="020B0303020204020204" pitchFamily="34" charset="0"/>
              </a:rPr>
              <a:t> :", </a:t>
            </a:r>
            <a:r>
              <a:rPr lang="de-DE" sz="1200" dirty="0" err="1">
                <a:latin typeface="Corbel Light" panose="020B0303020204020204" pitchFamily="34" charset="0"/>
              </a:rPr>
              <a:t>weiToEther</a:t>
            </a:r>
            <a:r>
              <a:rPr lang="de-DE" sz="1200" dirty="0">
                <a:latin typeface="Corbel Light" panose="020B0303020204020204" pitchFamily="34" charset="0"/>
              </a:rPr>
              <a:t>(r)))  .catch(</a:t>
            </a:r>
            <a:r>
              <a:rPr lang="de-DE" sz="1200" dirty="0" err="1">
                <a:latin typeface="Corbel Light" panose="020B0303020204020204" pitchFamily="34" charset="0"/>
              </a:rPr>
              <a:t>err</a:t>
            </a:r>
            <a:r>
              <a:rPr lang="de-DE" sz="1200" dirty="0">
                <a:latin typeface="Corbel Light" panose="020B0303020204020204" pitchFamily="34" charset="0"/>
              </a:rPr>
              <a:t> =&gt; console.log("An </a:t>
            </a:r>
            <a:r>
              <a:rPr lang="de-DE" sz="1200" dirty="0" err="1">
                <a:latin typeface="Corbel Light" panose="020B0303020204020204" pitchFamily="34" charset="0"/>
              </a:rPr>
              <a:t>error</a:t>
            </a:r>
            <a:r>
              <a:rPr lang="de-DE" sz="1200" dirty="0">
                <a:latin typeface="Corbel Light" panose="020B0303020204020204" pitchFamily="34" charset="0"/>
              </a:rPr>
              <a:t> </a:t>
            </a:r>
            <a:r>
              <a:rPr lang="de-DE" sz="1200" dirty="0" err="1">
                <a:latin typeface="Corbel Light" panose="020B0303020204020204" pitchFamily="34" charset="0"/>
              </a:rPr>
              <a:t>occurred</a:t>
            </a:r>
            <a:r>
              <a:rPr lang="de-DE" sz="1200" dirty="0">
                <a:latin typeface="Corbel Light" panose="020B0303020204020204" pitchFamily="34" charset="0"/>
              </a:rPr>
              <a:t>", </a:t>
            </a:r>
            <a:r>
              <a:rPr lang="de-DE" sz="1200" dirty="0" err="1">
                <a:latin typeface="Corbel Light" panose="020B0303020204020204" pitchFamily="34" charset="0"/>
              </a:rPr>
              <a:t>err</a:t>
            </a:r>
            <a:r>
              <a:rPr lang="de-DE" sz="1200" dirty="0">
                <a:latin typeface="Corbel Light" panose="020B0303020204020204" pitchFamily="34" charset="0"/>
              </a:rPr>
              <a:t>));</a:t>
            </a:r>
          </a:p>
          <a:p>
            <a:r>
              <a:rPr lang="de-DE" sz="1200" dirty="0">
                <a:latin typeface="Corbel Light" panose="020B0303020204020204" pitchFamily="34" charset="0"/>
              </a:rPr>
              <a:t>}</a:t>
            </a:r>
          </a:p>
          <a:p>
            <a:endParaRPr lang="de-DE" sz="1200" dirty="0">
              <a:latin typeface="Corbel Light" panose="020B0303020204020204" pitchFamily="34" charset="0"/>
            </a:endParaRPr>
          </a:p>
          <a:p>
            <a:r>
              <a:rPr lang="de-DE" sz="1200" dirty="0" err="1">
                <a:latin typeface="Corbel Light" panose="020B0303020204020204" pitchFamily="34" charset="0"/>
              </a:rPr>
              <a:t>function</a:t>
            </a:r>
            <a:r>
              <a:rPr lang="de-DE" sz="1200" dirty="0">
                <a:latin typeface="Corbel Light" panose="020B0303020204020204" pitchFamily="34" charset="0"/>
              </a:rPr>
              <a:t> </a:t>
            </a:r>
            <a:r>
              <a:rPr lang="de-DE" sz="1200" dirty="0" err="1">
                <a:latin typeface="Corbel Light" panose="020B0303020204020204" pitchFamily="34" charset="0"/>
              </a:rPr>
              <a:t>weiToEther</a:t>
            </a:r>
            <a:r>
              <a:rPr lang="de-DE" sz="1200" dirty="0">
                <a:latin typeface="Corbel Light" panose="020B0303020204020204" pitchFamily="34" charset="0"/>
              </a:rPr>
              <a:t>(</a:t>
            </a:r>
            <a:r>
              <a:rPr lang="de-DE" sz="1200" dirty="0" err="1">
                <a:latin typeface="Corbel Light" panose="020B0303020204020204" pitchFamily="34" charset="0"/>
              </a:rPr>
              <a:t>wei</a:t>
            </a:r>
            <a:r>
              <a:rPr lang="de-DE" sz="1200" dirty="0">
                <a:latin typeface="Corbel Light" panose="020B0303020204020204" pitchFamily="34" charset="0"/>
              </a:rPr>
              <a:t>){   </a:t>
            </a:r>
          </a:p>
          <a:p>
            <a:r>
              <a:rPr lang="de-DE" sz="1200" dirty="0" err="1">
                <a:latin typeface="Corbel Light" panose="020B0303020204020204" pitchFamily="34" charset="0"/>
              </a:rPr>
              <a:t>return</a:t>
            </a:r>
            <a:r>
              <a:rPr lang="de-DE" sz="1200" dirty="0">
                <a:latin typeface="Corbel Light" panose="020B0303020204020204" pitchFamily="34" charset="0"/>
              </a:rPr>
              <a:t> web3.utils.fromWei(</a:t>
            </a:r>
            <a:r>
              <a:rPr lang="de-DE" sz="1200" dirty="0" err="1">
                <a:latin typeface="Corbel Light" panose="020B0303020204020204" pitchFamily="34" charset="0"/>
              </a:rPr>
              <a:t>wei</a:t>
            </a:r>
            <a:r>
              <a:rPr lang="de-DE" sz="1200" dirty="0">
                <a:latin typeface="Corbel Light" panose="020B0303020204020204" pitchFamily="34" charset="0"/>
              </a:rPr>
              <a:t>, '</a:t>
            </a:r>
            <a:r>
              <a:rPr lang="de-DE" sz="1200" dirty="0" err="1">
                <a:latin typeface="Corbel Light" panose="020B0303020204020204" pitchFamily="34" charset="0"/>
              </a:rPr>
              <a:t>ether</a:t>
            </a:r>
            <a:r>
              <a:rPr lang="de-DE" sz="1200" dirty="0">
                <a:latin typeface="Corbel Light" panose="020B0303020204020204" pitchFamily="34" charset="0"/>
              </a:rPr>
              <a:t>‘);</a:t>
            </a:r>
          </a:p>
          <a:p>
            <a:r>
              <a:rPr lang="de-DE" dirty="0">
                <a:latin typeface="Corbel Light" panose="020B0303020204020204" pitchFamily="34" charset="0"/>
              </a:rPr>
              <a:t>}</a:t>
            </a:r>
            <a:endParaRPr lang="en-DE" dirty="0">
              <a:latin typeface="Corbel Light" panose="020B03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526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58DBA-9CA2-4279-BCB3-2AD783AAE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DE" dirty="0"/>
            </a:br>
            <a:r>
              <a:rPr lang="en-US" dirty="0"/>
              <a:t>I</a:t>
            </a:r>
            <a:r>
              <a:rPr lang="de-DE" dirty="0" err="1"/>
              <a:t>nstall</a:t>
            </a:r>
            <a:r>
              <a:rPr lang="de-DE" dirty="0"/>
              <a:t> </a:t>
            </a:r>
            <a:r>
              <a:rPr lang="de-DE" dirty="0" err="1"/>
              <a:t>Solidity</a:t>
            </a:r>
            <a:r>
              <a:rPr lang="de-DE" dirty="0"/>
              <a:t> Compiler 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537AFC-3DBE-47D6-AC5F-4F14CC5F95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un </a:t>
            </a:r>
            <a:r>
              <a:rPr lang="en-US" dirty="0" err="1">
                <a:solidFill>
                  <a:srgbClr val="FF0000"/>
                </a:solidFill>
              </a:rPr>
              <a:t>npm</a:t>
            </a:r>
            <a:r>
              <a:rPr lang="en-US" dirty="0">
                <a:solidFill>
                  <a:srgbClr val="FF0000"/>
                </a:solidFill>
              </a:rPr>
              <a:t> install </a:t>
            </a:r>
            <a:r>
              <a:rPr lang="en-US" dirty="0" err="1">
                <a:solidFill>
                  <a:srgbClr val="FF0000"/>
                </a:solidFill>
              </a:rPr>
              <a:t>solc</a:t>
            </a:r>
            <a:r>
              <a:rPr lang="en-US" dirty="0">
                <a:solidFill>
                  <a:srgbClr val="FF0000"/>
                </a:solidFill>
              </a:rPr>
              <a:t> -g </a:t>
            </a:r>
            <a:r>
              <a:rPr lang="en-US" dirty="0"/>
              <a:t>from your command line </a:t>
            </a:r>
          </a:p>
          <a:p>
            <a:r>
              <a:rPr lang="fr-FR" dirty="0"/>
              <a:t>Documentation: </a:t>
            </a:r>
            <a:r>
              <a:rPr lang="fr-FR" dirty="0">
                <a:hlinkClick r:id="rId2"/>
              </a:rPr>
              <a:t>https://solidity.readthedocs.io/en/v0.5.13/installing-solidity.html</a:t>
            </a:r>
            <a:endParaRPr lang="fr-FR" dirty="0"/>
          </a:p>
          <a:p>
            <a:pPr marL="0" indent="0">
              <a:buNone/>
            </a:pPr>
            <a:r>
              <a:rPr lang="en-DE" dirty="0"/>
              <a:t> </a:t>
            </a:r>
          </a:p>
          <a:p>
            <a:r>
              <a:rPr lang="en-US" dirty="0">
                <a:solidFill>
                  <a:srgbClr val="30B787"/>
                </a:solidFill>
              </a:rPr>
              <a:t>Create, deploy, and invoke a smart contract</a:t>
            </a: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  <a:p>
            <a:endParaRPr lang="fr-FR" dirty="0"/>
          </a:p>
          <a:p>
            <a:endParaRPr lang="fr-FR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C65A0D-15C7-4D5B-9904-34D494004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4944D4-0D71-4E77-B9D7-3D54B2EFB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682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Ethereum Tutorial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AEB6A82E-81CF-41DE-90A9-FD8D6AB363A4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669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F922B0-453E-4076-9439-EE1CF8935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168BB-A281-4624-AAF3-E1058F555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signment 2: smart contract development</a:t>
            </a:r>
          </a:p>
          <a:p>
            <a:r>
              <a:rPr lang="en-US" dirty="0"/>
              <a:t>Setting up a development environment based on Ganache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BFFBA8-BBC5-4092-943A-F319E5E41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A424C6-11D7-404D-B7D9-C19F3DAAA2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CB773D1-C470-47F5-9CEF-8319B358E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266" y="2017640"/>
            <a:ext cx="5418666" cy="312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336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DEF5B-D807-4C69-8729-9BC2F7D97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oad and Install Node.j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1B5745-7E4C-413E-89BB-4F958B6962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2798" y="1161362"/>
            <a:ext cx="3733201" cy="426563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dirty="0"/>
              <a:t>In Linux</a:t>
            </a:r>
          </a:p>
          <a:p>
            <a:pPr lvl="0"/>
            <a:r>
              <a:rPr lang="en" sz="1050" dirty="0"/>
              <a:t>Install/Verify you have curl and git</a:t>
            </a:r>
            <a:endParaRPr lang="en-DE" sz="1000" dirty="0"/>
          </a:p>
          <a:p>
            <a:pPr lvl="1"/>
            <a:r>
              <a:rPr lang="en" sz="1000" dirty="0"/>
              <a:t>If not, run sudo apt-get install curl or sudo apt-get install git respectively</a:t>
            </a:r>
            <a:endParaRPr lang="en-DE" sz="1000" dirty="0"/>
          </a:p>
          <a:p>
            <a:pPr lvl="0"/>
            <a:r>
              <a:rPr lang="en" sz="1050" dirty="0"/>
              <a:t>Install/Verify you are running at </a:t>
            </a:r>
            <a:r>
              <a:rPr lang="en" sz="1050" b="1" dirty="0"/>
              <a:t>Node JS LTS (v14)</a:t>
            </a:r>
            <a:endParaRPr lang="en-DE" sz="1000" dirty="0"/>
          </a:p>
          <a:p>
            <a:pPr lvl="0"/>
            <a:r>
              <a:rPr lang="en" sz="1050" dirty="0"/>
              <a:t>To check: Run node -v at your command line</a:t>
            </a:r>
            <a:endParaRPr lang="en-DE" sz="1000" dirty="0"/>
          </a:p>
          <a:p>
            <a:pPr lvl="0"/>
            <a:r>
              <a:rPr lang="en" sz="1050" dirty="0"/>
              <a:t>If not correct, download/update Node JS from: </a:t>
            </a:r>
            <a:endParaRPr lang="en-DE" sz="1000" dirty="0"/>
          </a:p>
          <a:p>
            <a:pPr lvl="1"/>
            <a:r>
              <a:rPr lang="en" sz="1000" dirty="0">
                <a:hlinkClick r:id="rId2"/>
              </a:rPr>
              <a:t>https://nodejs.org/en/download/</a:t>
            </a:r>
            <a:endParaRPr lang="en-DE" sz="900" dirty="0"/>
          </a:p>
          <a:p>
            <a:pPr lvl="1"/>
            <a:r>
              <a:rPr lang="en" sz="1000" dirty="0"/>
              <a:t>Or run:</a:t>
            </a:r>
            <a:endParaRPr lang="en-DE" sz="900" dirty="0"/>
          </a:p>
          <a:p>
            <a:pPr lvl="3"/>
            <a:r>
              <a:rPr lang="en" sz="900" dirty="0"/>
              <a:t>curl -sL https://deb.nodesource.com/setup_12.x | sudo -E bash - </a:t>
            </a:r>
            <a:endParaRPr lang="en-DE" sz="800" dirty="0"/>
          </a:p>
          <a:p>
            <a:pPr lvl="3"/>
            <a:r>
              <a:rPr lang="en" sz="900" dirty="0"/>
              <a:t>sudo apt-get install -y nodejs</a:t>
            </a:r>
            <a:br>
              <a:rPr lang="en" sz="900" dirty="0"/>
            </a:br>
            <a:endParaRPr lang="en-DE" sz="800" dirty="0"/>
          </a:p>
          <a:p>
            <a:pPr lvl="0"/>
            <a:r>
              <a:rPr lang="en" sz="1050" dirty="0"/>
              <a:t>Confirm that you have npm installed (it comes automatically when you download Node.js)</a:t>
            </a:r>
            <a:endParaRPr lang="en-DE" sz="1000" dirty="0"/>
          </a:p>
          <a:p>
            <a:pPr lvl="1"/>
            <a:r>
              <a:rPr lang="en" sz="1000" dirty="0"/>
              <a:t>To check: Run npm -v at your command line</a:t>
            </a:r>
            <a:endParaRPr lang="en-DE" sz="900" dirty="0"/>
          </a:p>
          <a:p>
            <a:pPr lvl="1"/>
            <a:r>
              <a:rPr lang="en" sz="1000" dirty="0"/>
              <a:t>To update: npm install npm@latest -g</a:t>
            </a:r>
            <a:br>
              <a:rPr lang="en" sz="1050" dirty="0"/>
            </a:br>
            <a:endParaRPr lang="en-DE" sz="1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E23128-26EB-4FF6-814E-56164FD0D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C1AAE4-EF14-4180-BA17-89D8858BD6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1EE923-33FE-44E8-ACFC-EAB8F93F82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462" y="1211725"/>
            <a:ext cx="4401792" cy="26850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08B7249-172F-4D70-8E6A-227018F7F5BC}"/>
              </a:ext>
            </a:extLst>
          </p:cNvPr>
          <p:cNvSpPr/>
          <p:nvPr/>
        </p:nvSpPr>
        <p:spPr>
          <a:xfrm>
            <a:off x="279400" y="3917227"/>
            <a:ext cx="4572000" cy="123174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Need of </a:t>
            </a:r>
            <a:r>
              <a:rPr lang="en-US" b="1" dirty="0" err="1"/>
              <a:t>npm</a:t>
            </a:r>
            <a:r>
              <a:rPr lang="en-US" b="1" dirty="0"/>
              <a:t> for the following installation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 err="1"/>
              <a:t>npm</a:t>
            </a:r>
            <a:r>
              <a:rPr lang="en-US" sz="1200" dirty="0"/>
              <a:t> (originally short for Node Package Manager) is a package manager for the JavaScript programming langua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1" dirty="0" err="1"/>
              <a:t>npm</a:t>
            </a:r>
            <a:r>
              <a:rPr lang="en-US" sz="1200" dirty="0"/>
              <a:t>, Inc. is a subsidiary of GitHub (a subsidiary of Microsoft), that provides hosting for software development and version control with the usage of Git.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68240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1E8C6-2508-46E4-BEAA-C5347172A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Install Ganache CLI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30401-D26F-4DA1-8D12-507B988716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234550"/>
            <a:ext cx="4288067" cy="3907366"/>
          </a:xfrm>
        </p:spPr>
        <p:txBody>
          <a:bodyPr>
            <a:normAutofit fontScale="85000" lnSpcReduction="20000"/>
          </a:bodyPr>
          <a:lstStyle/>
          <a:p>
            <a:r>
              <a:rPr lang="en-US" sz="2400" dirty="0"/>
              <a:t>Simulates a stateful blockchain system on your own machine</a:t>
            </a:r>
            <a:endParaRPr lang="en" sz="2400" dirty="0"/>
          </a:p>
          <a:p>
            <a:pPr lvl="0"/>
            <a:r>
              <a:rPr lang="en" sz="2400" dirty="0"/>
              <a:t>Create a </a:t>
            </a:r>
            <a:r>
              <a:rPr lang="en" sz="2400" b="1" dirty="0"/>
              <a:t>new folder </a:t>
            </a:r>
            <a:r>
              <a:rPr lang="en" sz="2400" dirty="0"/>
              <a:t>for working on the </a:t>
            </a:r>
            <a:r>
              <a:rPr lang="de-DE" sz="2400" dirty="0" err="1"/>
              <a:t>next</a:t>
            </a:r>
            <a:r>
              <a:rPr lang="de-DE" sz="2400" dirty="0"/>
              <a:t> </a:t>
            </a:r>
            <a:r>
              <a:rPr lang="en" sz="2400" dirty="0"/>
              <a:t>assignment, </a:t>
            </a:r>
            <a:endParaRPr lang="en-DE" sz="2000" dirty="0"/>
          </a:p>
          <a:p>
            <a:pPr lvl="1"/>
            <a:r>
              <a:rPr lang="en" dirty="0"/>
              <a:t>e.g., by typing </a:t>
            </a:r>
            <a:r>
              <a:rPr lang="en" dirty="0">
                <a:solidFill>
                  <a:srgbClr val="FF0000"/>
                </a:solidFill>
              </a:rPr>
              <a:t>mkdir 2021-SABA-A2</a:t>
            </a:r>
            <a:endParaRPr lang="en-DE" sz="1600" dirty="0">
              <a:solidFill>
                <a:srgbClr val="FF0000"/>
              </a:solidFill>
            </a:endParaRPr>
          </a:p>
          <a:p>
            <a:pPr lvl="1"/>
            <a:r>
              <a:rPr lang="en" dirty="0"/>
              <a:t>Make sure to </a:t>
            </a:r>
            <a:r>
              <a:rPr lang="en" b="1" dirty="0"/>
              <a:t>run all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following</a:t>
            </a:r>
            <a:r>
              <a:rPr lang="de-DE" b="1" dirty="0"/>
              <a:t> </a:t>
            </a:r>
            <a:r>
              <a:rPr lang="en" b="1" dirty="0"/>
              <a:t>npm commands in this folder</a:t>
            </a:r>
            <a:endParaRPr lang="en-DE" dirty="0"/>
          </a:p>
          <a:p>
            <a:r>
              <a:rPr lang="en-US" dirty="0"/>
              <a:t>Install Ganache CLI (part of the Truffle suite of Ethereum development tools) </a:t>
            </a:r>
          </a:p>
          <a:p>
            <a:pPr lvl="1"/>
            <a:r>
              <a:rPr lang="en-US" dirty="0"/>
              <a:t>Options a) Run </a:t>
            </a:r>
            <a:r>
              <a:rPr lang="en-DE" altLang="en-DE" dirty="0" err="1">
                <a:solidFill>
                  <a:srgbClr val="FF0000"/>
                </a:solidFill>
              </a:rPr>
              <a:t>npm</a:t>
            </a:r>
            <a:r>
              <a:rPr lang="en-DE" altLang="en-DE" dirty="0">
                <a:solidFill>
                  <a:srgbClr val="FF0000"/>
                </a:solidFill>
              </a:rPr>
              <a:t> install -g ganache-cli</a:t>
            </a:r>
            <a:r>
              <a:rPr lang="en-DE" altLang="en-DE" dirty="0"/>
              <a:t> </a:t>
            </a:r>
            <a:r>
              <a:rPr lang="en-US" dirty="0"/>
              <a:t> at your command line (command line only) </a:t>
            </a:r>
          </a:p>
          <a:p>
            <a:pPr lvl="1"/>
            <a:r>
              <a:rPr lang="en-US" dirty="0"/>
              <a:t>Option b): Download from here (comes with UI) </a:t>
            </a:r>
            <a:r>
              <a:rPr lang="en-US" dirty="0">
                <a:solidFill>
                  <a:srgbClr val="00A9CE"/>
                </a:solidFill>
                <a:hlinkClick r:id="rId3"/>
              </a:rPr>
              <a:t>https://www.trufflesuite.com/docs/ganache/quickstart</a:t>
            </a:r>
            <a:r>
              <a:rPr lang="en-US" dirty="0">
                <a:solidFill>
                  <a:srgbClr val="00A9CE"/>
                </a:solidFill>
              </a:rPr>
              <a:t> </a:t>
            </a:r>
            <a:endParaRPr lang="en-DE" dirty="0"/>
          </a:p>
          <a:p>
            <a:r>
              <a:rPr lang="fr-FR" dirty="0"/>
              <a:t>Documentation: </a:t>
            </a:r>
            <a:r>
              <a:rPr lang="fr-FR" dirty="0">
                <a:solidFill>
                  <a:srgbClr val="00A9CE"/>
                </a:solidFill>
                <a:hlinkClick r:id="rId4"/>
              </a:rPr>
              <a:t>https://github.com/trufflesuite/ganache-cli</a:t>
            </a:r>
            <a:r>
              <a:rPr lang="fr-FR" dirty="0">
                <a:solidFill>
                  <a:srgbClr val="00A9CE"/>
                </a:solidFill>
              </a:rPr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3C09C-1E52-41BE-878F-2B77470A6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5ED3E6-3E0A-4916-AD20-22BE7AC9E7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CCAB53-C893-4B7E-B0CE-2F1DF38238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3317" y="1234550"/>
            <a:ext cx="3801714" cy="240611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D70175-FF5F-461B-815E-087111F476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3066" y="3033109"/>
            <a:ext cx="2790176" cy="2108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691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E08C3-BB23-4AAC-9D64-D1E14F429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 Ganache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59413F-9986-42D6-B4EE-9FCC2AB0B5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un once, e.g. by entering ganache-cli , then copy the 12-word mnemonic</a:t>
            </a:r>
          </a:p>
          <a:p>
            <a:pPr lvl="1"/>
            <a:r>
              <a:rPr lang="en-US" dirty="0"/>
              <a:t>Enter the mnemonic in the UI when you create your workspace, or </a:t>
            </a:r>
          </a:p>
          <a:p>
            <a:pPr lvl="1"/>
            <a:r>
              <a:rPr lang="en-US" dirty="0"/>
              <a:t>If you use the command line, always start ganache with </a:t>
            </a:r>
            <a:r>
              <a:rPr lang="en-US" dirty="0">
                <a:solidFill>
                  <a:srgbClr val="FF0000"/>
                </a:solidFill>
              </a:rPr>
              <a:t>ganache-cli -m "&lt;your mnemonic here&gt;” </a:t>
            </a:r>
          </a:p>
          <a:p>
            <a:pPr lvl="1"/>
            <a:r>
              <a:rPr lang="en-US" dirty="0"/>
              <a:t>Also make sure your IP address (typically localhost / 127.0.0.1) and port are always the same </a:t>
            </a:r>
          </a:p>
          <a:p>
            <a:r>
              <a:rPr lang="en-US" dirty="0"/>
              <a:t>Note one difference: Ganache UI workspaces store the state persistently; Ganache-CLI by default starts with a ‘fresh’ blockchain system, i.e., with 10 accounts having 100 Ether each. Write your programs accordingly (assuming the state is or isn’t persisted). </a:t>
            </a:r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C2A4C2-7418-4A9F-A8E3-D81B2E7D0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58872-4701-4615-86BC-2949D697B5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534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7648E-3325-48DF-A8F4-C8B504FAE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DE" dirty="0"/>
            </a:br>
            <a:r>
              <a:rPr lang="en-US" dirty="0"/>
              <a:t>Install HD Wallet-enabled Web3 provider </a:t>
            </a:r>
            <a:br>
              <a:rPr lang="en-US" dirty="0"/>
            </a:b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2B8713-601F-4B38-B6B1-3B6AFB0B0E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ign transactions for addresses derived from a 12-word mnemonic</a:t>
            </a:r>
          </a:p>
          <a:p>
            <a:r>
              <a:rPr lang="en-US" dirty="0"/>
              <a:t>Run </a:t>
            </a:r>
            <a:r>
              <a:rPr lang="en-US" dirty="0" err="1">
                <a:solidFill>
                  <a:srgbClr val="FF0000"/>
                </a:solidFill>
              </a:rPr>
              <a:t>npm</a:t>
            </a:r>
            <a:r>
              <a:rPr lang="en-US" dirty="0">
                <a:solidFill>
                  <a:srgbClr val="FF0000"/>
                </a:solidFill>
              </a:rPr>
              <a:t> install -g truffle </a:t>
            </a:r>
          </a:p>
          <a:p>
            <a:r>
              <a:rPr lang="en-US" dirty="0"/>
              <a:t>Run </a:t>
            </a:r>
            <a:r>
              <a:rPr lang="en-US" dirty="0" err="1">
                <a:solidFill>
                  <a:srgbClr val="FF0000"/>
                </a:solidFill>
              </a:rPr>
              <a:t>npm</a:t>
            </a:r>
            <a:r>
              <a:rPr lang="en-US" dirty="0">
                <a:solidFill>
                  <a:srgbClr val="FF0000"/>
                </a:solidFill>
              </a:rPr>
              <a:t> install @truffle/</a:t>
            </a:r>
            <a:r>
              <a:rPr lang="en-US" dirty="0" err="1">
                <a:solidFill>
                  <a:srgbClr val="FF0000"/>
                </a:solidFill>
              </a:rPr>
              <a:t>hdwallet</a:t>
            </a:r>
            <a:r>
              <a:rPr lang="en-US" dirty="0">
                <a:solidFill>
                  <a:srgbClr val="FF0000"/>
                </a:solidFill>
              </a:rPr>
              <a:t>-provider </a:t>
            </a:r>
          </a:p>
          <a:p>
            <a:r>
              <a:rPr lang="fr-FR" dirty="0"/>
              <a:t>Documentation: </a:t>
            </a:r>
            <a:r>
              <a:rPr lang="fr-FR" dirty="0">
                <a:hlinkClick r:id="rId2"/>
              </a:rPr>
              <a:t>https://github.com/trufflesuite/truffle</a:t>
            </a:r>
            <a:endParaRPr lang="fr-FR" dirty="0"/>
          </a:p>
          <a:p>
            <a:endParaRPr lang="fr-FR" dirty="0"/>
          </a:p>
          <a:p>
            <a:r>
              <a:rPr lang="en-US" dirty="0"/>
              <a:t>If not already installed, install the Web3js library: </a:t>
            </a:r>
          </a:p>
          <a:p>
            <a:pPr lvl="1"/>
            <a:r>
              <a:rPr lang="en-US" dirty="0"/>
              <a:t>Run </a:t>
            </a:r>
            <a:r>
              <a:rPr lang="en-US" dirty="0" err="1">
                <a:solidFill>
                  <a:srgbClr val="FF0000"/>
                </a:solidFill>
              </a:rPr>
              <a:t>npm</a:t>
            </a:r>
            <a:r>
              <a:rPr lang="en-US" dirty="0">
                <a:solidFill>
                  <a:srgbClr val="FF0000"/>
                </a:solidFill>
              </a:rPr>
              <a:t> install web3 </a:t>
            </a:r>
          </a:p>
          <a:p>
            <a:endParaRPr lang="en-DE" dirty="0"/>
          </a:p>
          <a:p>
            <a:endParaRPr lang="fr-FR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C5A4AD-F3AD-4FFA-8094-C7053B0B3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A1F312-248B-4FD6-A947-46F686832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43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DA134-2AA5-4896-B853-1BDA64D14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JS file that uses HD Wallet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1968DD-07A5-476C-88AF-7295322CB9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ke sure Ganache is running</a:t>
            </a:r>
          </a:p>
          <a:p>
            <a:r>
              <a:rPr lang="en-US" dirty="0"/>
              <a:t>Run with </a:t>
            </a:r>
            <a:r>
              <a:rPr lang="en-US" dirty="0" err="1">
                <a:solidFill>
                  <a:srgbClr val="FF0000"/>
                </a:solidFill>
              </a:rPr>
              <a:t>nodejs</a:t>
            </a:r>
            <a:r>
              <a:rPr lang="en-US" dirty="0">
                <a:solidFill>
                  <a:srgbClr val="FF0000"/>
                </a:solidFill>
              </a:rPr>
              <a:t> &lt;</a:t>
            </a:r>
            <a:r>
              <a:rPr lang="en-US" dirty="0" err="1">
                <a:solidFill>
                  <a:srgbClr val="FF0000"/>
                </a:solidFill>
              </a:rPr>
              <a:t>yourfile</a:t>
            </a:r>
            <a:r>
              <a:rPr lang="en-US" dirty="0">
                <a:solidFill>
                  <a:srgbClr val="FF0000"/>
                </a:solidFill>
              </a:rPr>
              <a:t>&gt; </a:t>
            </a:r>
            <a:r>
              <a:rPr lang="en-US" dirty="0"/>
              <a:t>(or </a:t>
            </a:r>
            <a:r>
              <a:rPr lang="en-US" dirty="0">
                <a:solidFill>
                  <a:srgbClr val="FF0000"/>
                </a:solidFill>
              </a:rPr>
              <a:t>node &lt;</a:t>
            </a:r>
            <a:r>
              <a:rPr lang="en-US" dirty="0" err="1">
                <a:solidFill>
                  <a:srgbClr val="FF0000"/>
                </a:solidFill>
              </a:rPr>
              <a:t>yourfile</a:t>
            </a:r>
            <a:r>
              <a:rPr lang="en-US" dirty="0">
                <a:solidFill>
                  <a:srgbClr val="FF0000"/>
                </a:solidFill>
              </a:rPr>
              <a:t>&gt; </a:t>
            </a:r>
            <a:r>
              <a:rPr lang="en-US" dirty="0"/>
              <a:t>) </a:t>
            </a:r>
          </a:p>
          <a:p>
            <a:r>
              <a:rPr lang="en-US" dirty="0"/>
              <a:t>Files used in this tutorial will be made available on ISIS</a:t>
            </a:r>
          </a:p>
          <a:p>
            <a:pPr lvl="1"/>
            <a:r>
              <a:rPr lang="en-US" dirty="0"/>
              <a:t>note that they do not necessarily follow best coding practices 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D9E92D-1F36-486F-880A-543913837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43D250-FAA2-4908-B80F-0D27E9492C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04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D2FAF-FD6F-48A6-A3AB-80A51359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irst interaction with Ganache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E0BB00-0B73-4240-9247-7C379FEF19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117601"/>
            <a:ext cx="7920000" cy="4157132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HDWalletProvider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require</a:t>
            </a:r>
            <a:r>
              <a:rPr lang="de-DE" dirty="0">
                <a:latin typeface="Corbel Light" panose="020B0303020204020204" pitchFamily="34" charset="0"/>
              </a:rPr>
              <a:t>("@</a:t>
            </a:r>
            <a:r>
              <a:rPr lang="de-DE" dirty="0" err="1">
                <a:latin typeface="Corbel Light" panose="020B0303020204020204" pitchFamily="34" charset="0"/>
              </a:rPr>
              <a:t>truffle</a:t>
            </a:r>
            <a:r>
              <a:rPr lang="de-DE" dirty="0">
                <a:latin typeface="Corbel Light" panose="020B0303020204020204" pitchFamily="34" charset="0"/>
              </a:rPr>
              <a:t>/</a:t>
            </a:r>
            <a:r>
              <a:rPr lang="de-DE" dirty="0" err="1">
                <a:latin typeface="Corbel Light" panose="020B0303020204020204" pitchFamily="34" charset="0"/>
              </a:rPr>
              <a:t>hdwallet</a:t>
            </a:r>
            <a:r>
              <a:rPr lang="de-DE" dirty="0">
                <a:latin typeface="Corbel Light" panose="020B0303020204020204" pitchFamily="34" charset="0"/>
              </a:rPr>
              <a:t>-provider")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load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ingle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private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key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as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tringvar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ovider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new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HDWalletProvider</a:t>
            </a:r>
            <a:r>
              <a:rPr lang="de-DE" dirty="0">
                <a:latin typeface="Corbel Light" panose="020B0303020204020204" pitchFamily="34" charset="0"/>
              </a:rPr>
              <a:t>("</a:t>
            </a:r>
            <a:r>
              <a:rPr lang="de-DE" dirty="0" err="1">
                <a:latin typeface="Corbel Light" panose="020B0303020204020204" pitchFamily="34" charset="0"/>
              </a:rPr>
              <a:t>hop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cabin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bon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sunse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thriv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eigh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tray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rubbe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earth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resembl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survey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nasty</a:t>
            </a:r>
            <a:r>
              <a:rPr lang="de-DE" dirty="0">
                <a:latin typeface="Corbel Light" panose="020B0303020204020204" pitchFamily="34" charset="0"/>
              </a:rPr>
              <a:t>", "http://localhost:8545"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provider.addresses</a:t>
            </a:r>
            <a:r>
              <a:rPr lang="de-DE" dirty="0">
                <a:latin typeface="Corbel Light" panose="020B0303020204020204" pitchFamily="34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do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omething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Web3 = </a:t>
            </a:r>
            <a:r>
              <a:rPr lang="de-DE" dirty="0" err="1">
                <a:latin typeface="Corbel Light" panose="020B0303020204020204" pitchFamily="34" charset="0"/>
              </a:rPr>
              <a:t>require</a:t>
            </a:r>
            <a:r>
              <a:rPr lang="de-DE" dirty="0">
                <a:latin typeface="Corbel Light" panose="020B0303020204020204" pitchFamily="34" charset="0"/>
              </a:rPr>
              <a:t>('web3‘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web3 = </a:t>
            </a:r>
            <a:r>
              <a:rPr lang="de-DE" dirty="0" err="1">
                <a:latin typeface="Corbel Light" panose="020B0303020204020204" pitchFamily="34" charset="0"/>
              </a:rPr>
              <a:t>new</a:t>
            </a:r>
            <a:r>
              <a:rPr lang="de-DE" dirty="0">
                <a:latin typeface="Corbel Light" panose="020B0303020204020204" pitchFamily="34" charset="0"/>
              </a:rPr>
              <a:t> Web3(</a:t>
            </a:r>
            <a:r>
              <a:rPr lang="de-DE" dirty="0" err="1">
                <a:latin typeface="Corbel Light" panose="020B0303020204020204" pitchFamily="34" charset="0"/>
              </a:rPr>
              <a:t>provider</a:t>
            </a:r>
            <a:r>
              <a:rPr lang="de-DE" dirty="0">
                <a:latin typeface="Corbel Light" panose="020B0303020204020204" pitchFamily="34" charset="0"/>
              </a:rPr>
              <a:t>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console.log("</a:t>
            </a:r>
            <a:r>
              <a:rPr lang="de-DE" dirty="0" err="1">
                <a:latin typeface="Corbel Light" panose="020B0303020204020204" pitchFamily="34" charset="0"/>
              </a:rPr>
              <a:t>Hashrate</a:t>
            </a:r>
            <a:r>
              <a:rPr lang="de-DE" dirty="0">
                <a:latin typeface="Corbel Light" panose="020B0303020204020204" pitchFamily="34" charset="0"/>
              </a:rPr>
              <a:t>:"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Hashrate(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console.log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console.log("Block </a:t>
            </a:r>
            <a:r>
              <a:rPr lang="de-DE" dirty="0" err="1">
                <a:latin typeface="Corbel Light" panose="020B0303020204020204" pitchFamily="34" charset="0"/>
              </a:rPr>
              <a:t>Number</a:t>
            </a:r>
            <a:r>
              <a:rPr lang="de-DE" dirty="0">
                <a:latin typeface="Corbel Light" panose="020B0303020204020204" pitchFamily="34" charset="0"/>
              </a:rPr>
              <a:t>:"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lockNumber(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console.log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console.log("Balance of </a:t>
            </a:r>
            <a:r>
              <a:rPr lang="de-DE" dirty="0" err="1">
                <a:latin typeface="Corbel Light" panose="020B0303020204020204" pitchFamily="34" charset="0"/>
              </a:rPr>
              <a:t>account</a:t>
            </a:r>
            <a:r>
              <a:rPr lang="de-DE" dirty="0">
                <a:latin typeface="Corbel Light" panose="020B0303020204020204" pitchFamily="34" charset="0"/>
              </a:rPr>
              <a:t> 0: " +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0]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alance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0]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console.log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console.log("Balance of </a:t>
            </a:r>
            <a:r>
              <a:rPr lang="de-DE" dirty="0" err="1">
                <a:latin typeface="Corbel Light" panose="020B0303020204020204" pitchFamily="34" charset="0"/>
              </a:rPr>
              <a:t>account</a:t>
            </a:r>
            <a:r>
              <a:rPr lang="de-DE" dirty="0">
                <a:latin typeface="Corbel Light" panose="020B0303020204020204" pitchFamily="34" charset="0"/>
              </a:rPr>
              <a:t> 1: " +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1]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alance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1]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console.log)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top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HDWallet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provider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ovider.engine.stop</a:t>
            </a:r>
            <a:r>
              <a:rPr lang="de-DE" dirty="0">
                <a:latin typeface="Corbel Light" panose="020B0303020204020204" pitchFamily="34" charset="0"/>
              </a:rPr>
              <a:t>();</a:t>
            </a:r>
            <a:endParaRPr lang="en-DE" dirty="0">
              <a:latin typeface="Corbel Light" panose="020B0303020204020204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6E006-E9CC-4DCA-8BA0-5A6E21C41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07B9A9-436B-4E8D-91D4-0B5D279EF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9956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D2FAF-FD6F-48A6-A3AB-80A513596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 Wei into Ether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E0BB00-0B73-4240-9247-7C379FEF19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117600"/>
            <a:ext cx="4711400" cy="4131733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HDWalletProvider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require</a:t>
            </a:r>
            <a:r>
              <a:rPr lang="de-DE" dirty="0">
                <a:latin typeface="Corbel Light" panose="020B0303020204020204" pitchFamily="34" charset="0"/>
              </a:rPr>
              <a:t>("@</a:t>
            </a:r>
            <a:r>
              <a:rPr lang="de-DE" dirty="0" err="1">
                <a:latin typeface="Corbel Light" panose="020B0303020204020204" pitchFamily="34" charset="0"/>
              </a:rPr>
              <a:t>truffle</a:t>
            </a:r>
            <a:r>
              <a:rPr lang="de-DE" dirty="0">
                <a:latin typeface="Corbel Light" panose="020B0303020204020204" pitchFamily="34" charset="0"/>
              </a:rPr>
              <a:t>/</a:t>
            </a:r>
            <a:r>
              <a:rPr lang="de-DE" dirty="0" err="1">
                <a:latin typeface="Corbel Light" panose="020B0303020204020204" pitchFamily="34" charset="0"/>
              </a:rPr>
              <a:t>hdwallet</a:t>
            </a:r>
            <a:r>
              <a:rPr lang="de-DE" dirty="0">
                <a:latin typeface="Corbel Light" panose="020B0303020204020204" pitchFamily="34" charset="0"/>
              </a:rPr>
              <a:t>-provider")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load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ingle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private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key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as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tring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provider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new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HDWalletProvider</a:t>
            </a:r>
            <a:r>
              <a:rPr lang="de-DE" dirty="0">
                <a:latin typeface="Corbel Light" panose="020B0303020204020204" pitchFamily="34" charset="0"/>
              </a:rPr>
              <a:t>("</a:t>
            </a:r>
            <a:r>
              <a:rPr lang="de-DE" dirty="0" err="1">
                <a:latin typeface="Corbel Light" panose="020B0303020204020204" pitchFamily="34" charset="0"/>
              </a:rPr>
              <a:t>hop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cabin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bon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sunse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thriv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eight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tray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rubbe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earth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resemble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survey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nasty</a:t>
            </a:r>
            <a:r>
              <a:rPr lang="de-DE" dirty="0">
                <a:latin typeface="Corbel Light" panose="020B0303020204020204" pitchFamily="34" charset="0"/>
              </a:rPr>
              <a:t>", "http://localhost:8545"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 = </a:t>
            </a:r>
            <a:r>
              <a:rPr lang="de-DE" dirty="0" err="1">
                <a:latin typeface="Corbel Light" panose="020B0303020204020204" pitchFamily="34" charset="0"/>
              </a:rPr>
              <a:t>provider.addresses</a:t>
            </a:r>
            <a:r>
              <a:rPr lang="de-DE" dirty="0">
                <a:latin typeface="Corbel Light" panose="020B0303020204020204" pitchFamily="34" charset="0"/>
              </a:rPr>
              <a:t>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do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omething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Web3 = </a:t>
            </a:r>
            <a:r>
              <a:rPr lang="de-DE" dirty="0" err="1">
                <a:latin typeface="Corbel Light" panose="020B0303020204020204" pitchFamily="34" charset="0"/>
              </a:rPr>
              <a:t>require</a:t>
            </a:r>
            <a:r>
              <a:rPr lang="de-DE" dirty="0">
                <a:latin typeface="Corbel Light" panose="020B0303020204020204" pitchFamily="34" charset="0"/>
              </a:rPr>
              <a:t>('web3‘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var</a:t>
            </a:r>
            <a:r>
              <a:rPr lang="de-DE" dirty="0">
                <a:latin typeface="Corbel Light" panose="020B0303020204020204" pitchFamily="34" charset="0"/>
              </a:rPr>
              <a:t> web3 = </a:t>
            </a:r>
            <a:r>
              <a:rPr lang="de-DE" dirty="0" err="1">
                <a:latin typeface="Corbel Light" panose="020B0303020204020204" pitchFamily="34" charset="0"/>
              </a:rPr>
              <a:t>new</a:t>
            </a:r>
            <a:r>
              <a:rPr lang="de-DE" dirty="0">
                <a:latin typeface="Corbel Light" panose="020B0303020204020204" pitchFamily="34" charset="0"/>
              </a:rPr>
              <a:t> Web3(</a:t>
            </a:r>
            <a:r>
              <a:rPr lang="de-DE" dirty="0" err="1">
                <a:latin typeface="Corbel Light" panose="020B0303020204020204" pitchFamily="34" charset="0"/>
              </a:rPr>
              <a:t>provider</a:t>
            </a:r>
            <a:r>
              <a:rPr lang="de-DE" dirty="0">
                <a:latin typeface="Corbel Light" panose="020B0303020204020204" pitchFamily="34" charset="0"/>
              </a:rPr>
              <a:t>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Hashrate(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r =&gt; console.log("</a:t>
            </a:r>
            <a:r>
              <a:rPr lang="de-DE" dirty="0" err="1">
                <a:latin typeface="Corbel Light" panose="020B0303020204020204" pitchFamily="34" charset="0"/>
              </a:rPr>
              <a:t>Hashrate</a:t>
            </a:r>
            <a:r>
              <a:rPr lang="de-DE" dirty="0">
                <a:latin typeface="Corbel Light" panose="020B0303020204020204" pitchFamily="34" charset="0"/>
              </a:rPr>
              <a:t>: ", r))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 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lockNumber(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r =&gt; console.log("Block </a:t>
            </a:r>
            <a:r>
              <a:rPr lang="de-DE" dirty="0" err="1">
                <a:latin typeface="Corbel Light" panose="020B0303020204020204" pitchFamily="34" charset="0"/>
              </a:rPr>
              <a:t>Number</a:t>
            </a:r>
            <a:r>
              <a:rPr lang="de-DE" dirty="0">
                <a:latin typeface="Corbel Light" panose="020B0303020204020204" pitchFamily="34" charset="0"/>
              </a:rPr>
              <a:t>: ", r))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 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alance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0]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r =&gt; console.log("Balance (in Ether) of </a:t>
            </a:r>
            <a:r>
              <a:rPr lang="de-DE" dirty="0" err="1">
                <a:latin typeface="Corbel Light" panose="020B0303020204020204" pitchFamily="34" charset="0"/>
              </a:rPr>
              <a:t>account</a:t>
            </a:r>
            <a:r>
              <a:rPr lang="de-DE" dirty="0">
                <a:latin typeface="Corbel Light" panose="020B0303020204020204" pitchFamily="34" charset="0"/>
              </a:rPr>
              <a:t> 0",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0], "</a:t>
            </a:r>
            <a:r>
              <a:rPr lang="de-DE" dirty="0" err="1">
                <a:latin typeface="Corbel Light" panose="020B0303020204020204" pitchFamily="34" charset="0"/>
              </a:rPr>
              <a:t>is</a:t>
            </a:r>
            <a:r>
              <a:rPr lang="de-DE" dirty="0">
                <a:latin typeface="Corbel Light" panose="020B0303020204020204" pitchFamily="34" charset="0"/>
              </a:rPr>
              <a:t> :", </a:t>
            </a:r>
            <a:r>
              <a:rPr lang="de-DE" dirty="0" err="1">
                <a:latin typeface="Corbel Light" panose="020B0303020204020204" pitchFamily="34" charset="0"/>
              </a:rPr>
              <a:t>weiToEther</a:t>
            </a:r>
            <a:r>
              <a:rPr lang="de-DE" dirty="0">
                <a:latin typeface="Corbel Light" panose="020B0303020204020204" pitchFamily="34" charset="0"/>
              </a:rPr>
              <a:t>(r)))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 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pPr marL="0" indent="0">
              <a:buNone/>
            </a:pPr>
            <a:r>
              <a:rPr lang="de-DE" dirty="0">
                <a:latin typeface="Corbel Light" panose="020B0303020204020204" pitchFamily="34" charset="0"/>
              </a:rPr>
              <a:t>web3.eth.getBalance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1])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r =&gt; console.log("Balance (in Ether) of </a:t>
            </a:r>
            <a:r>
              <a:rPr lang="de-DE" dirty="0" err="1">
                <a:latin typeface="Corbel Light" panose="020B0303020204020204" pitchFamily="34" charset="0"/>
              </a:rPr>
              <a:t>account</a:t>
            </a:r>
            <a:r>
              <a:rPr lang="de-DE" dirty="0">
                <a:latin typeface="Corbel Light" panose="020B0303020204020204" pitchFamily="34" charset="0"/>
              </a:rPr>
              <a:t> 1", 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1], "</a:t>
            </a:r>
            <a:r>
              <a:rPr lang="de-DE" dirty="0" err="1">
                <a:latin typeface="Corbel Light" panose="020B0303020204020204" pitchFamily="34" charset="0"/>
              </a:rPr>
              <a:t>is</a:t>
            </a:r>
            <a:r>
              <a:rPr lang="de-DE" dirty="0">
                <a:latin typeface="Corbel Light" panose="020B0303020204020204" pitchFamily="34" charset="0"/>
              </a:rPr>
              <a:t> :", </a:t>
            </a:r>
            <a:r>
              <a:rPr lang="de-DE" dirty="0" err="1">
                <a:latin typeface="Corbel Light" panose="020B0303020204020204" pitchFamily="34" charset="0"/>
              </a:rPr>
              <a:t>weiToEther</a:t>
            </a:r>
            <a:r>
              <a:rPr lang="de-DE" dirty="0">
                <a:latin typeface="Corbel Light" panose="020B0303020204020204" pitchFamily="34" charset="0"/>
              </a:rPr>
              <a:t>(r)))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intAccountBalance</a:t>
            </a:r>
            <a:r>
              <a:rPr lang="de-DE" dirty="0">
                <a:latin typeface="Corbel Light" panose="020B0303020204020204" pitchFamily="34" charset="0"/>
              </a:rPr>
              <a:t>(</a:t>
            </a:r>
            <a:r>
              <a:rPr lang="de-DE" dirty="0" err="1">
                <a:latin typeface="Corbel Light" panose="020B0303020204020204" pitchFamily="34" charset="0"/>
              </a:rPr>
              <a:t>addresses</a:t>
            </a:r>
            <a:r>
              <a:rPr lang="de-DE" dirty="0">
                <a:latin typeface="Corbel Light" panose="020B0303020204020204" pitchFamily="34" charset="0"/>
              </a:rPr>
              <a:t>[2]);</a:t>
            </a:r>
          </a:p>
          <a:p>
            <a:pPr marL="0" indent="0">
              <a:buNone/>
            </a:pP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stop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HDWallet</a:t>
            </a:r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provider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orbel Light" panose="020B0303020204020204" pitchFamily="34" charset="0"/>
              </a:rPr>
              <a:t>provider.engine.stop</a:t>
            </a:r>
            <a:r>
              <a:rPr lang="de-DE" dirty="0">
                <a:latin typeface="Corbel Light" panose="020B0303020204020204" pitchFamily="34" charset="0"/>
              </a:rPr>
              <a:t>()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6E006-E9CC-4DCA-8BA0-5A6E21C41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07B9A9-436B-4E8D-91D4-0B5D279EF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9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BE4160-388F-4C1C-87E3-060F55FFEB7F}"/>
              </a:ext>
            </a:extLst>
          </p:cNvPr>
          <p:cNvSpPr/>
          <p:nvPr/>
        </p:nvSpPr>
        <p:spPr>
          <a:xfrm>
            <a:off x="5477933" y="1117600"/>
            <a:ext cx="3369734" cy="2469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accent2"/>
                </a:solidFill>
                <a:latin typeface="Corbel Light" panose="020B0303020204020204" pitchFamily="34" charset="0"/>
              </a:rPr>
              <a:t>// </a:t>
            </a:r>
            <a:r>
              <a:rPr lang="de-DE" dirty="0" err="1">
                <a:solidFill>
                  <a:schemeClr val="accent2"/>
                </a:solidFill>
                <a:latin typeface="Corbel Light" panose="020B0303020204020204" pitchFamily="34" charset="0"/>
              </a:rPr>
              <a:t>functions</a:t>
            </a:r>
            <a:endParaRPr lang="de-DE" dirty="0">
              <a:solidFill>
                <a:schemeClr val="accent2"/>
              </a:solidFill>
              <a:latin typeface="Corbel Light" panose="020B0303020204020204" pitchFamily="34" charset="0"/>
            </a:endParaRPr>
          </a:p>
          <a:p>
            <a:r>
              <a:rPr lang="de-DE" dirty="0" err="1">
                <a:latin typeface="Corbel Light" panose="020B0303020204020204" pitchFamily="34" charset="0"/>
              </a:rPr>
              <a:t>function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printAccountBalance</a:t>
            </a:r>
            <a:r>
              <a:rPr lang="de-DE" dirty="0">
                <a:latin typeface="Corbel Light" panose="020B0303020204020204" pitchFamily="34" charset="0"/>
              </a:rPr>
              <a:t>(</a:t>
            </a:r>
            <a:r>
              <a:rPr lang="de-DE" dirty="0" err="1">
                <a:latin typeface="Corbel Light" panose="020B0303020204020204" pitchFamily="34" charset="0"/>
              </a:rPr>
              <a:t>address</a:t>
            </a:r>
            <a:r>
              <a:rPr lang="de-DE" dirty="0">
                <a:latin typeface="Corbel Light" panose="020B0303020204020204" pitchFamily="34" charset="0"/>
              </a:rPr>
              <a:t>){  </a:t>
            </a:r>
          </a:p>
          <a:p>
            <a:r>
              <a:rPr lang="de-DE" dirty="0">
                <a:latin typeface="Corbel Light" panose="020B0303020204020204" pitchFamily="34" charset="0"/>
              </a:rPr>
              <a:t>web3.eth.getBalance(</a:t>
            </a:r>
            <a:r>
              <a:rPr lang="de-DE" dirty="0" err="1">
                <a:latin typeface="Corbel Light" panose="020B0303020204020204" pitchFamily="34" charset="0"/>
              </a:rPr>
              <a:t>address</a:t>
            </a:r>
            <a:r>
              <a:rPr lang="de-DE" dirty="0">
                <a:latin typeface="Corbel Light" panose="020B0303020204020204" pitchFamily="34" charset="0"/>
              </a:rPr>
              <a:t>)  .</a:t>
            </a:r>
            <a:r>
              <a:rPr lang="de-DE" dirty="0" err="1">
                <a:latin typeface="Corbel Light" panose="020B0303020204020204" pitchFamily="34" charset="0"/>
              </a:rPr>
              <a:t>then</a:t>
            </a:r>
            <a:r>
              <a:rPr lang="de-DE" dirty="0">
                <a:latin typeface="Corbel Light" panose="020B0303020204020204" pitchFamily="34" charset="0"/>
              </a:rPr>
              <a:t>(r =&gt; console.log("Balance (in Ether) of </a:t>
            </a:r>
            <a:r>
              <a:rPr lang="de-DE" dirty="0" err="1">
                <a:latin typeface="Corbel Light" panose="020B0303020204020204" pitchFamily="34" charset="0"/>
              </a:rPr>
              <a:t>account</a:t>
            </a:r>
            <a:r>
              <a:rPr lang="de-DE" dirty="0">
                <a:latin typeface="Corbel Light" panose="020B0303020204020204" pitchFamily="34" charset="0"/>
              </a:rPr>
              <a:t>", </a:t>
            </a:r>
            <a:r>
              <a:rPr lang="de-DE" dirty="0" err="1">
                <a:latin typeface="Corbel Light" panose="020B0303020204020204" pitchFamily="34" charset="0"/>
              </a:rPr>
              <a:t>address</a:t>
            </a:r>
            <a:r>
              <a:rPr lang="de-DE" dirty="0">
                <a:latin typeface="Corbel Light" panose="020B0303020204020204" pitchFamily="34" charset="0"/>
              </a:rPr>
              <a:t>, "</a:t>
            </a:r>
            <a:r>
              <a:rPr lang="de-DE" dirty="0" err="1">
                <a:latin typeface="Corbel Light" panose="020B0303020204020204" pitchFamily="34" charset="0"/>
              </a:rPr>
              <a:t>is</a:t>
            </a:r>
            <a:r>
              <a:rPr lang="de-DE" dirty="0">
                <a:latin typeface="Corbel Light" panose="020B0303020204020204" pitchFamily="34" charset="0"/>
              </a:rPr>
              <a:t> :", </a:t>
            </a:r>
            <a:r>
              <a:rPr lang="de-DE" dirty="0" err="1">
                <a:latin typeface="Corbel Light" panose="020B0303020204020204" pitchFamily="34" charset="0"/>
              </a:rPr>
              <a:t>weiToEther</a:t>
            </a:r>
            <a:r>
              <a:rPr lang="de-DE" dirty="0">
                <a:latin typeface="Corbel Light" panose="020B0303020204020204" pitchFamily="34" charset="0"/>
              </a:rPr>
              <a:t>(r)))  .catch(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 =&gt; console.log("An </a:t>
            </a:r>
            <a:r>
              <a:rPr lang="de-DE" dirty="0" err="1">
                <a:latin typeface="Corbel Light" panose="020B0303020204020204" pitchFamily="34" charset="0"/>
              </a:rPr>
              <a:t>error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occurred</a:t>
            </a:r>
            <a:r>
              <a:rPr lang="de-DE" dirty="0">
                <a:latin typeface="Corbel Light" panose="020B0303020204020204" pitchFamily="34" charset="0"/>
              </a:rPr>
              <a:t>", </a:t>
            </a:r>
            <a:r>
              <a:rPr lang="de-DE" dirty="0" err="1">
                <a:latin typeface="Corbel Light" panose="020B0303020204020204" pitchFamily="34" charset="0"/>
              </a:rPr>
              <a:t>err</a:t>
            </a:r>
            <a:r>
              <a:rPr lang="de-DE" dirty="0">
                <a:latin typeface="Corbel Light" panose="020B0303020204020204" pitchFamily="34" charset="0"/>
              </a:rPr>
              <a:t>));</a:t>
            </a:r>
          </a:p>
          <a:p>
            <a:r>
              <a:rPr lang="de-DE" dirty="0">
                <a:latin typeface="Corbel Light" panose="020B0303020204020204" pitchFamily="34" charset="0"/>
              </a:rPr>
              <a:t>}</a:t>
            </a:r>
          </a:p>
          <a:p>
            <a:endParaRPr lang="de-DE" dirty="0">
              <a:latin typeface="Corbel Light" panose="020B0303020204020204" pitchFamily="34" charset="0"/>
            </a:endParaRPr>
          </a:p>
          <a:p>
            <a:r>
              <a:rPr lang="de-DE" dirty="0" err="1">
                <a:latin typeface="Corbel Light" panose="020B0303020204020204" pitchFamily="34" charset="0"/>
              </a:rPr>
              <a:t>function</a:t>
            </a:r>
            <a:r>
              <a:rPr lang="de-DE" dirty="0">
                <a:latin typeface="Corbel Light" panose="020B0303020204020204" pitchFamily="34" charset="0"/>
              </a:rPr>
              <a:t> </a:t>
            </a:r>
            <a:r>
              <a:rPr lang="de-DE" dirty="0" err="1">
                <a:latin typeface="Corbel Light" panose="020B0303020204020204" pitchFamily="34" charset="0"/>
              </a:rPr>
              <a:t>weiToEther</a:t>
            </a:r>
            <a:r>
              <a:rPr lang="de-DE" dirty="0">
                <a:latin typeface="Corbel Light" panose="020B0303020204020204" pitchFamily="34" charset="0"/>
              </a:rPr>
              <a:t>(</a:t>
            </a:r>
            <a:r>
              <a:rPr lang="de-DE" dirty="0" err="1">
                <a:latin typeface="Corbel Light" panose="020B0303020204020204" pitchFamily="34" charset="0"/>
              </a:rPr>
              <a:t>wei</a:t>
            </a:r>
            <a:r>
              <a:rPr lang="de-DE" dirty="0">
                <a:latin typeface="Corbel Light" panose="020B0303020204020204" pitchFamily="34" charset="0"/>
              </a:rPr>
              <a:t>){   </a:t>
            </a:r>
          </a:p>
          <a:p>
            <a:r>
              <a:rPr lang="de-DE" dirty="0" err="1">
                <a:latin typeface="Corbel Light" panose="020B0303020204020204" pitchFamily="34" charset="0"/>
              </a:rPr>
              <a:t>return</a:t>
            </a:r>
            <a:r>
              <a:rPr lang="de-DE" dirty="0">
                <a:latin typeface="Corbel Light" panose="020B0303020204020204" pitchFamily="34" charset="0"/>
              </a:rPr>
              <a:t> web3.utils.fromWei(</a:t>
            </a:r>
            <a:r>
              <a:rPr lang="de-DE" dirty="0" err="1">
                <a:latin typeface="Corbel Light" panose="020B0303020204020204" pitchFamily="34" charset="0"/>
              </a:rPr>
              <a:t>wei</a:t>
            </a:r>
            <a:r>
              <a:rPr lang="de-DE" dirty="0">
                <a:latin typeface="Corbel Light" panose="020B0303020204020204" pitchFamily="34" charset="0"/>
              </a:rPr>
              <a:t>, '</a:t>
            </a:r>
            <a:r>
              <a:rPr lang="de-DE" dirty="0" err="1">
                <a:latin typeface="Corbel Light" panose="020B0303020204020204" pitchFamily="34" charset="0"/>
              </a:rPr>
              <a:t>ether</a:t>
            </a:r>
            <a:r>
              <a:rPr lang="de-DE" dirty="0">
                <a:latin typeface="Corbel Light" panose="020B0303020204020204" pitchFamily="34" charset="0"/>
              </a:rPr>
              <a:t>‘);</a:t>
            </a:r>
          </a:p>
          <a:p>
            <a:r>
              <a:rPr lang="de-DE" dirty="0">
                <a:latin typeface="Corbel Light" panose="020B0303020204020204" pitchFamily="34" charset="0"/>
              </a:rPr>
              <a:t>}</a:t>
            </a:r>
            <a:endParaRPr lang="en-DE" dirty="0">
              <a:latin typeface="Corbel Light" panose="020B03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649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1488</Words>
  <Application>Microsoft Office PowerPoint</Application>
  <PresentationFormat>On-screen Show (16:10)</PresentationFormat>
  <Paragraphs>158</Paragraphs>
  <Slides>12</Slides>
  <Notes>3</Notes>
  <HiddenSlides>1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等线</vt:lpstr>
      <vt:lpstr>Arial</vt:lpstr>
      <vt:lpstr>Calibri</vt:lpstr>
      <vt:lpstr>Corbel Light</vt:lpstr>
      <vt:lpstr>Wingdings</vt:lpstr>
      <vt:lpstr>Technische Universität Berlin | PowerPoint Master</vt:lpstr>
      <vt:lpstr>Ethereum Tutorial</vt:lpstr>
      <vt:lpstr>Goals</vt:lpstr>
      <vt:lpstr>Download and Install Node.js</vt:lpstr>
      <vt:lpstr>Install Ganache CLI</vt:lpstr>
      <vt:lpstr>Run Ganache</vt:lpstr>
      <vt:lpstr> Install HD Wallet-enabled Web3 provider  </vt:lpstr>
      <vt:lpstr>Create a JS file that uses HD Wallet</vt:lpstr>
      <vt:lpstr>A first interaction with Ganache</vt:lpstr>
      <vt:lpstr>Transform Wei into Ether</vt:lpstr>
      <vt:lpstr>Transfer of Ether</vt:lpstr>
      <vt:lpstr> Install Solidity Compiler </vt:lpstr>
      <vt:lpstr>Ethereum Tutorial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970</cp:revision>
  <dcterms:created xsi:type="dcterms:W3CDTF">2018-09-03T00:08:13Z</dcterms:created>
  <dcterms:modified xsi:type="dcterms:W3CDTF">2021-08-12T09:10:55Z</dcterms:modified>
</cp:coreProperties>
</file>